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116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3/12/2020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3/12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December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fr-FR" sz="1400" b="1" dirty="0">
                  <a:solidFill>
                    <a:srgbClr val="FFFFFF"/>
                  </a:solidFill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DESCRIPTION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226334" cy="461665"/>
          </a:xfrm>
        </p:spPr>
        <p:txBody>
          <a:bodyPr/>
          <a:lstStyle/>
          <a:p>
            <a:r>
              <a:rPr lang="fr-FR" dirty="0"/>
              <a:t>Améliorez le rendement de votre équipement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70451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fr-FR" dirty="0"/>
              <a:t>Bras de transfert à guidage linéaire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6" name="Image 3">
            <a:extLst>
              <a:ext uri="{FF2B5EF4-FFF2-40B4-BE49-F238E27FC236}">
                <a16:creationId xmlns:a16="http://schemas.microsoft.com/office/drawing/2014/main" id="{79A0C2F8-8068-4C2F-A655-886E7A0F33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2681" y="3829867"/>
            <a:ext cx="1814513" cy="191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Image 4">
            <a:extLst>
              <a:ext uri="{FF2B5EF4-FFF2-40B4-BE49-F238E27FC236}">
                <a16:creationId xmlns:a16="http://schemas.microsoft.com/office/drawing/2014/main" id="{64E2262A-CB59-47AD-BA4B-8386617CA4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0219" y="3923530"/>
            <a:ext cx="1930400" cy="172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Flèche : droite 19">
            <a:extLst>
              <a:ext uri="{FF2B5EF4-FFF2-40B4-BE49-F238E27FC236}">
                <a16:creationId xmlns:a16="http://schemas.microsoft.com/office/drawing/2014/main" id="{47E6EBF9-E955-4CB4-8183-D010FD66E7FB}"/>
              </a:ext>
            </a:extLst>
          </p:cNvPr>
          <p:cNvSpPr/>
          <p:nvPr/>
        </p:nvSpPr>
        <p:spPr>
          <a:xfrm>
            <a:off x="6636469" y="4633142"/>
            <a:ext cx="276225" cy="15081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fr-FR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336F9E3-116E-40D0-AABE-2A2C92A7C7A3}"/>
              </a:ext>
            </a:extLst>
          </p:cNvPr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eur : Rend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Équipements : souffleuses Series 1 (SBO 4/4 - SBO 4/6 - SBO 6/6 - SBO 6/10 - SBO 10/10 - SBO 16 - SBO 24/26)</a:t>
            </a:r>
            <a:endParaRPr kumimoji="0" lang="fr-FR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de catalogue : 91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FEBD1D9-8BD9-4260-96AA-38EFACB12A00}"/>
              </a:ext>
            </a:extLst>
          </p:cNvPr>
          <p:cNvSpPr/>
          <p:nvPr/>
        </p:nvSpPr>
        <p:spPr>
          <a:xfrm>
            <a:off x="647700" y="2165531"/>
            <a:ext cx="3889375" cy="330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b="1" dirty="0"/>
              <a:t>La dernière technologie disponible aussi sur S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b="1" dirty="0"/>
              <a:t>Précision de positionnement élevée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sz="1100" dirty="0"/>
              <a:t>les vibrations et la flexion à l'extrémité de la pince sont réduites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sz="1100" dirty="0"/>
              <a:t>ressorts repositionnés pour fonctionner dans leur plage de fonctionnemen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sz="1100" dirty="0"/>
              <a:t>aucun risque d'erreurs de réglag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b="1" dirty="0"/>
              <a:t>Facile à entretenir, durée de vie plus longue, plus propr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sz="1100" dirty="0"/>
              <a:t>lubrification du guide à effectuer tous les 6 ans pour un débit de 1200 b / h / m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sz="1100" dirty="0"/>
              <a:t>réduction des coûts et du temps de maintenanc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sz="1100" dirty="0"/>
              <a:t>environnement de la fonction de transfert plus prop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b="1" dirty="0"/>
              <a:t>Un bras plus léger augmente également la durée de vie des cames et des galets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sz="1100" dirty="0"/>
              <a:t>rail de guidage en aluminium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sz="1100" dirty="0"/>
              <a:t>support optimisé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sz="1100" dirty="0"/>
              <a:t>poids total réduit d'environ 1,2 k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C564977-C55C-46BF-9478-F4C949B1A471}"/>
              </a:ext>
            </a:extLst>
          </p:cNvPr>
          <p:cNvSpPr/>
          <p:nvPr/>
        </p:nvSpPr>
        <p:spPr>
          <a:xfrm>
            <a:off x="4760867" y="2160646"/>
            <a:ext cx="386344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b="1" dirty="0"/>
              <a:t>Le bras de transfert guidé par rouleau remplace le bras guidé par douille </a:t>
            </a:r>
            <a:r>
              <a:rPr lang="fr-FR" sz="1100" b="1" dirty="0" err="1"/>
              <a:t>auto-lubrifiante</a:t>
            </a:r>
            <a:r>
              <a:rPr lang="fr-FR" sz="1100" b="1" dirty="0"/>
              <a:t> S1</a:t>
            </a:r>
            <a:r>
              <a:rPr lang="fr-FR" sz="1100" dirty="0"/>
              <a:t>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sz="1100" dirty="0"/>
              <a:t>comprend la tête de changement rapide S2, les pinces et le gabarit de réglage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sz="1100" dirty="0"/>
              <a:t>également disponible avec la tête de changement rapide S1.</a:t>
            </a:r>
          </a:p>
        </p:txBody>
      </p:sp>
    </p:spTree>
    <p:extLst>
      <p:ext uri="{BB962C8B-B14F-4D97-AF65-F5344CB8AC3E}">
        <p14:creationId xmlns:p14="http://schemas.microsoft.com/office/powerpoint/2010/main" val="2867660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673</TotalTime>
  <Words>176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Améliorez le rendement de votre équipemen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74</cp:revision>
  <dcterms:created xsi:type="dcterms:W3CDTF">2018-02-10T17:04:39Z</dcterms:created>
  <dcterms:modified xsi:type="dcterms:W3CDTF">2020-12-23T15:39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